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402" r:id="rId2"/>
  </p:sldMasterIdLst>
  <p:notesMasterIdLst>
    <p:notesMasterId r:id="rId4"/>
  </p:notesMasterIdLst>
  <p:sldIdLst>
    <p:sldId id="25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/>
    <p:restoredTop sz="0"/>
  </p:normalViewPr>
  <p:slideViewPr>
    <p:cSldViewPr>
      <p:cViewPr varScale="1">
        <p:scale>
          <a:sx n="39" d="100"/>
          <a:sy n="39" d="100"/>
        </p:scale>
        <p:origin x="32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7/1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370586-043B-4551-AE02-804FEA46318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1B370-42D9-4CA6-8148-25CE763853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316E84-03BE-4BBA-A513-92A13AB8D228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/>
              <a:t>主标题文字示意 </a:t>
            </a:r>
            <a:r>
              <a:rPr lang="en-US" altLang="zh-CN"/>
              <a:t>50</a:t>
            </a:r>
            <a:r>
              <a:rPr lang="en-CN"/>
              <a:t>pt</a:t>
            </a:r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/>
              <a:t>副标题文字示意</a:t>
            </a:r>
            <a:r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8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99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A55BBB-61B4-48BE-BE27-6AD22BFCCD2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5F5C8C-0FED-4246-9338-9D7FAA914A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404AB1C-8C46-4890-A869-195B9D9A4035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582D423D-61BA-4316-837C-35EB9E2D92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AB705D97-144E-4396-93F4-2207AA908E4D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EA66246E-4401-4653-8BF1-740C902BC22B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3D06058-5E9D-4113-AF41-41B8B4CF5B4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3E01792B-D7B2-4DBE-A548-E4DA211C57D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396" r:id="rId2"/>
    <p:sldLayoutId id="2147485397" r:id="rId3"/>
    <p:sldLayoutId id="2147485400" r:id="rId4"/>
    <p:sldLayoutId id="214748540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Font typeface="Arial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ct val="0"/>
        </a:spcAft>
        <a:buFont typeface="Arial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900"/>
        </a:spcAft>
        <a:buFont typeface="Arial" pitchFamily="34" charset="0"/>
        <a:buChar char="​"/>
        <a:defRPr lang="en-US" sz="2400" kern="1200" baseline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16.xml"/><Relationship Id="rId10" Type="http://schemas.openxmlformats.org/officeDocument/2006/relationships/notesSlide" Target="../notesSlides/notesSlide1.xml"/><Relationship Id="rId11" Type="http://schemas.openxmlformats.org/officeDocument/2006/relationships/oleObject" Target="../embeddings/oleObject4.bin"/><Relationship Id="rId12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17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pPr>
              <a:defRPr sz="1600"/>
            </a:pPr>
            <a:r>
              <a:t>测试标题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/>
          <p:nvPr/>
        </p:nvSpPr>
        <p:spPr bwMode="gray">
          <a:xfrm>
            <a:off x="1564141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 sz="1600"/>
            </a:pPr>
            <a:r>
              <a:t>测试内容1</a:t>
            </a:r>
            <a:br/>
            <a:r>
              <a:t>{content_1_bullet_1}</a:t>
            </a:r>
            <a:br/>
            <a:r>
              <a:t>{content_1_bullet_2}</a:t>
            </a:r>
            <a:endParaRPr lang="en-US" sz="1400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64141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1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/>
          <p:nvPr/>
        </p:nvSpPr>
        <p:spPr bwMode="gray">
          <a:xfrm>
            <a:off x="4954007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2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2_bullet_1}</a:t>
            </a:r>
            <a:br>
              <a:rPr lang="en-US" altLang="zh-CN" sz="1400" dirty="0"/>
            </a:br>
            <a:r>
              <a:rPr lang="en-US" altLang="zh-CN" sz="1400" dirty="0"/>
              <a:t>{content_2_bullet_2}</a:t>
            </a:r>
            <a:endParaRPr lang="en-US" sz="1400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4007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3998" b="1" dirty="0">
                <a:solidFill>
                  <a:schemeClr val="accent1"/>
                </a:solidFill>
              </a:rPr>
              <a:t>2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/>
          <p:nvPr/>
        </p:nvSpPr>
        <p:spPr bwMode="gray">
          <a:xfrm>
            <a:off x="8402665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3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3_bullet_1}</a:t>
            </a:r>
            <a:br>
              <a:rPr lang="en-US" altLang="zh-CN" sz="1400" dirty="0"/>
            </a:br>
            <a:r>
              <a:rPr lang="en-US" altLang="zh-CN" sz="1400" dirty="0"/>
              <a:t>{content_3_bullet_2}</a:t>
            </a:r>
            <a:endParaRPr lang="en-US" sz="1400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402665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3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/>
          <p:nvPr/>
        </p:nvSpPr>
        <p:spPr bwMode="gray">
          <a:xfrm>
            <a:off x="1564141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4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4_bullet_1}</a:t>
            </a:r>
            <a:br>
              <a:rPr lang="en-US" altLang="zh-CN" sz="1400" dirty="0"/>
            </a:br>
            <a:r>
              <a:rPr lang="en-US" altLang="zh-CN" sz="1400" dirty="0"/>
              <a:t>{content_4_bullet_2}</a:t>
            </a:r>
            <a:endParaRPr lang="en-US" sz="1400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564141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4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/>
          <p:nvPr/>
        </p:nvSpPr>
        <p:spPr bwMode="gray">
          <a:xfrm>
            <a:off x="4954007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5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5_bullet_1}</a:t>
            </a:r>
            <a:br>
              <a:rPr lang="en-US" altLang="zh-CN" sz="1400" dirty="0"/>
            </a:br>
            <a:r>
              <a:rPr lang="en-US" altLang="zh-CN" sz="1400" dirty="0"/>
              <a:t>{content_5_bullet_2}</a:t>
            </a:r>
            <a:endParaRPr lang="en-US" sz="1400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954007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5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/>
          <p:nvPr/>
        </p:nvSpPr>
        <p:spPr bwMode="gray">
          <a:xfrm>
            <a:off x="8402665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6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/>
              <a:t>{content_6_bullet</a:t>
            </a:r>
            <a:r>
              <a:rPr lang="en-US" altLang="zh-CN" sz="1400" dirty="0"/>
              <a:t>_1}</a:t>
            </a:r>
            <a:br>
              <a:rPr lang="en-US" altLang="zh-CN" sz="1400"/>
            </a:br>
            <a:r>
              <a:rPr lang="en-US" altLang="zh-CN" sz="1400"/>
              <a:t>{content_6_bullet</a:t>
            </a:r>
            <a:r>
              <a:rPr lang="en-US" altLang="zh-CN" sz="1400" dirty="0"/>
              <a:t>_2}</a:t>
            </a:r>
            <a:endParaRPr lang="en-US" sz="1400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02665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6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/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3.09.14"/>
  <p:tag name="AS_TITLE" val="Aspose.Slides for .NET 4.0 Client Profile"/>
  <p:tag name="AS_VERSION" val="23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2342079"/>
  <p:tag name="EMPOWERCHARTSPROPERTIES_SLOT" val="A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60307503"/>
  <p:tag name="EMPOWERCHARTSPROPERTIES_SLOT" val="A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334127"/>
  <p:tag name="EMPOWERCHARTSPROPERTIES_SLOT" val="A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8349811"/>
  <p:tag name="EMPOWERCHARTSPROPERTIES_SLOT" val="A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54132156"/>
  <p:tag name="EMPOWERCHARTSPROPERTIES_SLOT" val="A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801735"/>
  <p:tag name="EMPOWERCHARTSPROPERTIES_SLOT" val="A"/>
  <p:tag name="RUNTIME_ID" val="f554e5cd-95d6-4bea-9d06-e105c03ffe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Arial"/>
      </a:majorFont>
      <a:minorFont>
        <a:latin typeface="理想品牌字体 2022"/>
        <a:ea typeface="理想品牌字体 2022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Trebuchet MS"/>
        <a:cs typeface="Arial"/>
      </a:majorFont>
      <a:minorFont>
        <a:latin typeface="Trebuchet MS"/>
        <a:ea typeface="Trebuchet MS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7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Office Theme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cp:lastModifiedBy>贾轶涵</cp:lastModifiedBy>
  <cp:revision>7</cp:revision>
  <cp:lastPrinted>2025-06-03T10:34:13Z</cp:lastPrinted>
  <dcterms:created xsi:type="dcterms:W3CDTF">2025-06-03T02:34:13Z</dcterms:created>
  <dcterms:modified xsi:type="dcterms:W3CDTF">2025-07-18T07:54:33Z</dcterms:modified>
</cp:coreProperties>
</file>